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299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3" d="100"/>
          <a:sy n="93" d="100"/>
        </p:scale>
        <p:origin x="78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 Januar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C4CAADB-37E7-482E-AAB6-3D9FB727B5E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écupérez jusqu'à 40% de l'air de souffl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3160" y="1426703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 : Kit de récupération ai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</a:t>
            </a:r>
            <a:r>
              <a:rPr kumimoji="0" lang="fr-FR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</a:t>
            </a:r>
            <a:r>
              <a:rPr kumimoji="0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timisation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s </a:t>
            </a: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ûts</a:t>
            </a:r>
            <a:r>
              <a:rPr lang="fr-FR" dirty="0">
                <a:solidFill>
                  <a:srgbClr val="000000"/>
                </a:solidFill>
              </a:rPr>
              <a:t>, Développement durable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Series 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54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 algn="l" rtl="0" eaLnBrk="0" hangingPunct="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Économies de la consommation d'air 40 bar : de 15 % à 40 % </a:t>
                      </a:r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en fonction des paramètres du P</a:t>
                      </a:r>
                      <a:r>
                        <a:rPr lang="fr-FR" sz="1200" dirty="0" err="1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rocess</a:t>
                      </a:r>
                      <a:endParaRPr lang="fr-FR" sz="1200" dirty="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Économies d'air 7 b de 100 % </a:t>
                      </a:r>
                      <a:r>
                        <a:rPr lang="fr-FR" sz="1200" b="0" dirty="0"/>
                        <a:t>sur 95 % des applications. Seuls 20 Nm3/h sont nécessaires au démarrage pour amorcer le systèm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Qualité de bouteille constante </a:t>
                      </a:r>
                      <a:r>
                        <a:rPr lang="fr-FR" sz="1200" b="0" dirty="0"/>
                        <a:t>sans variation des paramètres Proces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/>
                        <a:t>Fiabilité du fonctionnement. </a:t>
                      </a:r>
                      <a:r>
                        <a:rPr lang="fr-FR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Aucun besoin de maintenanc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Investissements réduits</a:t>
                      </a:r>
                      <a:r>
                        <a:rPr lang="fr-FR" dirty="0"/>
                        <a:t> </a:t>
                      </a:r>
                      <a:r>
                        <a:rPr lang="fr-FR" sz="1200" noProof="0" dirty="0"/>
                        <a:t>grâce au dimensionnement optimal des compresseur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volume d'air récupéré dépend du type de souffleuse et des conditions de production :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dence de la machine, nombre de postes de soufflage, pression de </a:t>
                      </a:r>
                      <a:r>
                        <a:rPr kumimoji="0" lang="fr-FR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ésoufflage</a:t>
                      </a: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et de soufflage, capacité des bouteill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'air récupéré peut être réutilisé pour :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</a:t>
                      </a:r>
                      <a:r>
                        <a:rPr kumimoji="0" lang="fr-FR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ésoufflage</a:t>
                      </a:r>
                      <a:endParaRPr kumimoji="0" lang="fr-FR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'alimentation en air des vérins de tuyère et d'élongation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e sortie d'air basse pression à l'extérieur de la machine (la souffleuse fait office de compresseur BP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 version PCC minimum requise pour installer cet O&amp;U est la V2.02, pour les versions antérieures une mise à jour du PCC est nécessair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Picture 11" descr="543_serie 2_a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816" y="4639111"/>
            <a:ext cx="1656184" cy="1017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9D2F18E9-85B8-40C9-A601-D5B2597EA219}"/>
              </a:ext>
            </a:extLst>
          </p:cNvPr>
          <p:cNvSpPr/>
          <p:nvPr/>
        </p:nvSpPr>
        <p:spPr>
          <a:xfrm>
            <a:off x="4763307" y="1737477"/>
            <a:ext cx="3882218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0673576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35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écupérez jusqu'à 40% de l'air de souffl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21-01-04T16:0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5:33.1718529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